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296" r:id="rId4"/>
    <p:sldId id="294" r:id="rId5"/>
    <p:sldId id="301" r:id="rId6"/>
    <p:sldId id="297" r:id="rId7"/>
    <p:sldId id="307" r:id="rId8"/>
    <p:sldId id="308" r:id="rId9"/>
    <p:sldId id="303" r:id="rId10"/>
    <p:sldId id="305" r:id="rId11"/>
    <p:sldId id="304" r:id="rId12"/>
    <p:sldId id="302" r:id="rId13"/>
    <p:sldId id="306" r:id="rId14"/>
    <p:sldId id="298" r:id="rId15"/>
    <p:sldId id="285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11B41CB-EA9C-4CB6-B3B4-34AB7C499B6D}" v="1" dt="2025-12-01T06:21:31.4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18" autoAdjust="0"/>
  </p:normalViewPr>
  <p:slideViewPr>
    <p:cSldViewPr snapToGrid="0">
      <p:cViewPr varScale="1">
        <p:scale>
          <a:sx n="80" d="100"/>
          <a:sy n="80" d="100"/>
        </p:scale>
        <p:origin x="48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01.1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03B410E-C319-D1E1-C0AC-8ACB67A99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190336D-C8E3-3383-63E9-C4CCAAA1D7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A56F391-9E9D-5245-65CF-E3CFA03D57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28556-886A-E522-20D7-EB82D68C3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20026" y="3572388"/>
            <a:ext cx="532064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F0BCB-94E0-C8DF-CA0D-110BDFA7D1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3218" y="3555579"/>
            <a:ext cx="53542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40195-83B7-B53A-4C4E-05C189139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B754F02-1870-6880-20CA-D4782BAD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7C6DC24-4FE7-D11D-4BDE-12E056B1B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53B671B-11B8-5EB5-1223-D11D27286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D698EEB-8508-290B-719E-40DC2BFCD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6299F04-C96D-4539-6FD6-68641829E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C10E57-699A-8121-DD38-6408EA13F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reative Layout 01, Arial, 18 pt, black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95CF15C-8172-5EC7-3580-6120E65EE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9D95539-5CB2-37ED-D38B-E8BD00FC8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is is the chapter title and </a:t>
            </a:r>
            <a:br>
              <a:rPr lang="en-GB" noProof="0" dirty="0"/>
            </a:br>
            <a:r>
              <a:rPr lang="en-GB" noProof="0" dirty="0"/>
              <a:t>it can go on 3 to 4 lines.</a:t>
            </a:r>
            <a:br>
              <a:rPr lang="en-GB" noProof="0" dirty="0"/>
            </a:br>
            <a:r>
              <a:rPr lang="en-GB" noProof="0" dirty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DA00B84-F826-7AC9-A28F-475EBB973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9"/>
            <a:ext cx="534230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Nr.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74991E2-D260-5369-FE3C-050962E97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Creative Layout 2</a:t>
            </a:r>
            <a:br>
              <a:rPr lang="en-GB" noProof="0" dirty="0"/>
            </a:br>
            <a:r>
              <a:rPr lang="en-GB" noProof="0" dirty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006D1A8-9633-66EB-1EA4-752C9039E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1921E16-7DA0-45EF-EA48-A00C75394B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3700" y="2661820"/>
            <a:ext cx="355329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240033-1B27-2ECE-1AC2-4C0A982DAA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666372" y="4018732"/>
            <a:ext cx="442795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53DABF5-8C90-B4EE-E548-ECA7C2C08A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 dirty="0"/>
              <a:t>Quote on full background image</a:t>
            </a:r>
          </a:p>
          <a:p>
            <a:pPr lvl="0"/>
            <a:r>
              <a:rPr lang="en-GB" noProof="0" dirty="0"/>
              <a:t>Georgia, Italic, 40 pt, centre aligned</a:t>
            </a:r>
          </a:p>
          <a:p>
            <a:pPr lvl="1"/>
            <a:r>
              <a:rPr lang="en-GB" noProof="0" dirty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Author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04CFC0D-F6B8-6E72-2F7D-409808024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803D47-E512-EF06-12E2-B7C74415E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Quote, Georgia, Italic, 30 pt</a:t>
            </a:r>
            <a:br>
              <a:rPr lang="en-GB" noProof="0" dirty="0"/>
            </a:br>
            <a:r>
              <a:rPr lang="en-GB" noProof="0" dirty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65739-CD2F-8DC7-5976-CD1FE8BF35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6579" y="3558941"/>
            <a:ext cx="534754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C3DABE-D4E5-D351-963E-34FD93396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24734D8-8B07-78D5-43B8-8F1E5049E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8099" y="3570460"/>
            <a:ext cx="53245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A3CC9D-C8AC-9800-39AE-668220846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ACF552-8FB0-CAE7-0584-8327FAA9D3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6AEBF-45BD-AB32-079A-1B2E5D11E1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 err="1"/>
              <a:t>european</a:t>
            </a:r>
            <a:r>
              <a:rPr lang="en-GB" noProof="0" dirty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D656607-9460-0FBB-C6E7-86922BA97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F73511-5300-CCC6-5C11-A8FDAEBF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here could be a </a:t>
            </a:r>
            <a:br>
              <a:rPr lang="en-GB" noProof="0" dirty="0"/>
            </a:br>
            <a:r>
              <a:rPr lang="en-GB" noProof="0" dirty="0"/>
              <a:t>section title as well.</a:t>
            </a:r>
            <a:br>
              <a:rPr lang="en-GB" noProof="0" dirty="0"/>
            </a:br>
            <a:r>
              <a:rPr lang="en-GB" noProof="0" dirty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9035807-A58D-C6A4-D7C0-1E12619E1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0C562AB-F20A-0117-8ABB-4C6CAE32B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4B34766-A3BB-4165-CC57-2BE3C22A1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full background image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85A207C-46C0-F407-78B2-6640ADE3C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blue background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524DA13-9979-4452-B6DE-309D7DC6A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 dirty="0"/>
              <a:t>1-Column Text + white background</a:t>
            </a:r>
          </a:p>
          <a:p>
            <a:pPr lvl="0"/>
            <a:r>
              <a:rPr lang="en-GB" noProof="0" dirty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5B547A-BEF3-D0B6-BB29-EF55FF35F5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13303C-C1E6-DEEA-79FE-604C62A23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0" imgH="409" progId="TCLayout.ActiveDocument.1">
                  <p:embed/>
                </p:oleObj>
              </mc:Choice>
              <mc:Fallback>
                <p:oleObj name="think-cell Folie" r:id="rId32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6331505-9ECA-3956-1067-E87CC20DB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14th MicroTCA Workshop for Industry and Research, Hamburg, Dec 2-4, 2025</a:t>
            </a:r>
            <a:endParaRPr lang="en-GB" i="1" noProof="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, ESO-647064 v.1</a:t>
            </a:r>
            <a:endParaRPr lang="en-GB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4" Type="http://schemas.openxmlformats.org/officeDocument/2006/relationships/image" Target="cid:image002.png@01DC2CAA.DD626D70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9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microsoft.com/office/2007/relationships/hdphoto" Target="../media/hdphoto1.wdp"/><Relationship Id="rId11" Type="http://schemas.openxmlformats.org/officeDocument/2006/relationships/image" Target="../media/image27.png"/><Relationship Id="rId5" Type="http://schemas.openxmlformats.org/officeDocument/2006/relationships/image" Target="../media/image23.png"/><Relationship Id="rId15" Type="http://schemas.openxmlformats.org/officeDocument/2006/relationships/image" Target="../media/image31.png"/><Relationship Id="rId10" Type="http://schemas.microsoft.com/office/2007/relationships/hdphoto" Target="../media/hdphoto2.wdp"/><Relationship Id="rId4" Type="http://schemas.openxmlformats.org/officeDocument/2006/relationships/image" Target="../media/image22.png"/><Relationship Id="rId9" Type="http://schemas.openxmlformats.org/officeDocument/2006/relationships/image" Target="../media/image26.png"/><Relationship Id="rId1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C2CAA.DD626D70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566E0C-FA6E-54A2-225D-2AF65AECB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b="0" dirty="0"/>
              <a:t>Update on the development and deployment of the MicroTCA based detector controller, NGCII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u="sng" dirty="0"/>
              <a:t>Mathias Richerzhagen</a:t>
            </a:r>
            <a:r>
              <a:rPr lang="en-GB" dirty="0"/>
              <a:t>, Matthias Seidel, Alexander Rüde, </a:t>
            </a:r>
          </a:p>
          <a:p>
            <a:r>
              <a:rPr lang="en-GB" dirty="0"/>
              <a:t>Max Engelhardt, Omar Sqalli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DF2062-2DE8-6125-3A32-7529A00C02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D97568-A082-0238-0616-D1B047216E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22CE10-9A6A-7EAF-834E-E1555D3B7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F6D7E-BA9B-BFF7-036B-BA39C9229B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D32C24-FA9E-F0C5-2383-F2EB9EE48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lly Digital Detector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2E555D-3757-544F-26F3-22689F7CA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28483B0-0684-0FA1-929E-D1A1EB8D3512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Geosnap 2K x 2K Mid-IR (13.5µ) Detecto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CBDE03C-1AE7-F59F-AD9B-600F815D83D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pic>
        <p:nvPicPr>
          <p:cNvPr id="3" name="Picture 2" descr="A chart with numbers and a number of red and yellow squares&#10;&#10;AI-generated content may be incorrect.">
            <a:extLst>
              <a:ext uri="{FF2B5EF4-FFF2-40B4-BE49-F238E27FC236}">
                <a16:creationId xmlns:a16="http://schemas.microsoft.com/office/drawing/2014/main" id="{16576666-A96B-5454-D2B3-0AF5B47208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4" t="10464" r="2863" b="8777"/>
          <a:stretch>
            <a:fillRect/>
          </a:stretch>
        </p:blipFill>
        <p:spPr bwMode="auto">
          <a:xfrm>
            <a:off x="3127200" y="2174170"/>
            <a:ext cx="4319905" cy="37592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 descr="A cartoon character with lights on it&#10;&#10;AI-generated content may be incorrect.">
            <a:extLst>
              <a:ext uri="{FF2B5EF4-FFF2-40B4-BE49-F238E27FC236}">
                <a16:creationId xmlns:a16="http://schemas.microsoft.com/office/drawing/2014/main" id="{DAA48DD4-6733-21D6-E983-03B753AA4D1A}"/>
              </a:ext>
            </a:extLst>
          </p:cNvPr>
          <p:cNvPicPr>
            <a:picLocks noChangeAspect="1"/>
          </p:cNvPicPr>
          <p:nvPr/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092" y="2174170"/>
            <a:ext cx="3764180" cy="37592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F8249E-8ABF-1734-F2D1-3526AA0B2C5A}"/>
              </a:ext>
            </a:extLst>
          </p:cNvPr>
          <p:cNvSpPr txBox="1"/>
          <p:nvPr/>
        </p:nvSpPr>
        <p:spPr>
          <a:xfrm>
            <a:off x="3127200" y="1697207"/>
            <a:ext cx="2121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est Pattern Im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10A32A-B114-72AA-A242-21F2B5A2D47B}"/>
              </a:ext>
            </a:extLst>
          </p:cNvPr>
          <p:cNvSpPr txBox="1"/>
          <p:nvPr/>
        </p:nvSpPr>
        <p:spPr>
          <a:xfrm>
            <a:off x="7556092" y="1693572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Visible Light Mask 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C47597-1FBE-3044-F2E9-01694F5B57E0}"/>
              </a:ext>
            </a:extLst>
          </p:cNvPr>
          <p:cNvSpPr/>
          <p:nvPr/>
        </p:nvSpPr>
        <p:spPr>
          <a:xfrm rot="1148842">
            <a:off x="430194" y="4570773"/>
            <a:ext cx="3344091" cy="11360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First time reading fully-digital detector at ESO, enabled by MicroTCA</a:t>
            </a:r>
          </a:p>
        </p:txBody>
      </p:sp>
    </p:spTree>
    <p:extLst>
      <p:ext uri="{BB962C8B-B14F-4D97-AF65-F5344CB8AC3E}">
        <p14:creationId xmlns:p14="http://schemas.microsoft.com/office/powerpoint/2010/main" val="2497430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21C39D-9B49-DFCB-0755-417EFB884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751C31-BD42-AB01-0B56-977E8AE86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og CCD Detectors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443F646-C1E5-AE1B-1DBD-02CF9D8772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61940" y="2016000"/>
            <a:ext cx="5891847" cy="3905375"/>
          </a:xfrm>
        </p:spPr>
        <p:txBody>
          <a:bodyPr/>
          <a:lstStyle/>
          <a:p>
            <a:pPr lvl="1"/>
            <a:r>
              <a:rPr lang="en-GB" b="1" dirty="0"/>
              <a:t>First light achieved!</a:t>
            </a:r>
          </a:p>
          <a:p>
            <a:pPr lvl="1"/>
            <a:r>
              <a:rPr lang="en-GB" dirty="0"/>
              <a:t>3e−</a:t>
            </a:r>
            <a:r>
              <a:rPr lang="en-GB" baseline="-25000" dirty="0"/>
              <a:t>RMS</a:t>
            </a:r>
            <a:r>
              <a:rPr lang="en-GB" dirty="0"/>
              <a:t> noise observed</a:t>
            </a:r>
          </a:p>
          <a:p>
            <a:pPr lvl="2"/>
            <a:r>
              <a:rPr lang="en-GB" dirty="0"/>
              <a:t>Same as previous controllers</a:t>
            </a:r>
          </a:p>
          <a:p>
            <a:pPr lvl="1"/>
            <a:r>
              <a:rPr lang="en-GB" dirty="0"/>
              <a:t>Different parameters than other controllers</a:t>
            </a:r>
          </a:p>
          <a:p>
            <a:pPr lvl="1"/>
            <a:r>
              <a:rPr lang="en-GB" dirty="0"/>
              <a:t>Very analog detector control, complex debugging necessary and ongoing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26A9242-B96D-D592-3C77-88EEDE4D1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B02EBB5F-CEC8-F07F-81B3-CC9F7CB95AD7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What a selection! – This is a subhead for an emotional addition to the headli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D4E824-F875-BF44-D19F-821D7FE8DE8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pic>
        <p:nvPicPr>
          <p:cNvPr id="7" name="Picture 6" descr="A computer screen shot of a logo&#10;&#10;AI-generated content may be incorrect.">
            <a:extLst>
              <a:ext uri="{FF2B5EF4-FFF2-40B4-BE49-F238E27FC236}">
                <a16:creationId xmlns:a16="http://schemas.microsoft.com/office/drawing/2014/main" id="{BD87E36D-9FD9-7AA1-D2AC-91E99B84E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4" y="2008354"/>
            <a:ext cx="4159123" cy="391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2582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C411CB-7680-9CD0-F09C-5F63C43FA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9486CF3-D85D-D181-9E0E-0678CDFF16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9486CF3-D85D-D181-9E0E-0678CDFF1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0A396909-A209-8DBB-FE97-A1750CCBA7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iscellaneou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ED47B23-F0FB-9DBA-8FA5-5F02FCC820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72912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44B55C-87FA-E197-6B24-DC6125089D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4CCB26A8-F2FF-A112-EB3E-4ED0E6F6F0EA}"/>
              </a:ext>
            </a:extLst>
          </p:cNvPr>
          <p:cNvSpPr/>
          <p:nvPr/>
        </p:nvSpPr>
        <p:spPr>
          <a:xfrm>
            <a:off x="8406242" y="3294276"/>
            <a:ext cx="3317131" cy="127468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Everything linked by ESO-Global Asset Tags</a:t>
            </a:r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3C8485-64D3-68FC-8894-03F8BF0F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lf-Test Softwa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FA8300B-D557-E108-8055-D5A57DB31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2B87CDB-31B3-42E5-D33C-3E8DEBB5FA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a Classification: ESO PUBLIC, ESO-647064 v.1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9BF31E8E-C343-2A26-56CD-ECAFB43F2540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Integrated Test Syste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627E23-5465-14B0-D5F2-DCBE2308BF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3351" y="2633898"/>
            <a:ext cx="1274684" cy="1274684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EF8EB3FA-B11F-6174-BE34-4147CB9421CE}"/>
              </a:ext>
            </a:extLst>
          </p:cNvPr>
          <p:cNvGrpSpPr/>
          <p:nvPr/>
        </p:nvGrpSpPr>
        <p:grpSpPr>
          <a:xfrm>
            <a:off x="672818" y="2200590"/>
            <a:ext cx="1729574" cy="1923608"/>
            <a:chOff x="4527156" y="1505392"/>
            <a:chExt cx="1729574" cy="192360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DCB5B95-3F89-8BE2-B43B-00D9EBA12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27156" y="1505392"/>
              <a:ext cx="1729574" cy="1923608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2408940-D9EF-BEC7-D962-8BF438CBC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r="3921"/>
            <a:stretch>
              <a:fillRect/>
            </a:stretch>
          </p:blipFill>
          <p:spPr>
            <a:xfrm>
              <a:off x="4653749" y="1790886"/>
              <a:ext cx="1475589" cy="942789"/>
            </a:xfrm>
            <a:prstGeom prst="rect">
              <a:avLst/>
            </a:prstGeom>
          </p:spPr>
        </p:pic>
      </p:grpSp>
      <p:pic>
        <p:nvPicPr>
          <p:cNvPr id="1026" name="Picture 2" descr="Docker Hub: Centralized management of Docker images">
            <a:extLst>
              <a:ext uri="{FF2B5EF4-FFF2-40B4-BE49-F238E27FC236}">
                <a16:creationId xmlns:a16="http://schemas.microsoft.com/office/drawing/2014/main" id="{1C02C782-EFB1-A375-BCC3-2D00306F1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20" b="89920" l="4800" r="93120">
                        <a14:foregroundMark x1="28480" y1="43360" x2="28480" y2="43360"/>
                        <a14:foregroundMark x1="28000" y1="33600" x2="28000" y2="33600"/>
                        <a14:foregroundMark x1="39200" y1="32960" x2="39200" y2="32960"/>
                        <a14:foregroundMark x1="51680" y1="32640" x2="51680" y2="32640"/>
                        <a14:foregroundMark x1="51680" y1="24000" x2="51680" y2="24000"/>
                        <a14:foregroundMark x1="60640" y1="42560" x2="60640" y2="42560"/>
                        <a14:foregroundMark x1="51360" y1="42560" x2="51360" y2="42560"/>
                        <a14:foregroundMark x1="39840" y1="43680" x2="39840" y2="43680"/>
                        <a14:foregroundMark x1="17600" y1="42240" x2="17600" y2="42240"/>
                        <a14:foregroundMark x1="8000" y1="56160" x2="8000" y2="56160"/>
                        <a14:foregroundMark x1="4800" y1="52320" x2="4800" y2="52320"/>
                        <a14:foregroundMark x1="93120" y1="45760" x2="93120" y2="457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258" y="2099099"/>
            <a:ext cx="512466" cy="512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echnical Paper: 15 Kubernetes tools reviewed | Komodor">
            <a:extLst>
              <a:ext uri="{FF2B5EF4-FFF2-40B4-BE49-F238E27FC236}">
                <a16:creationId xmlns:a16="http://schemas.microsoft.com/office/drawing/2014/main" id="{11A9144A-87CE-1FE7-FA88-F2F685E22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956" y="2151885"/>
            <a:ext cx="421097" cy="409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2">
            <a:extLst>
              <a:ext uri="{FF2B5EF4-FFF2-40B4-BE49-F238E27FC236}">
                <a16:creationId xmlns:a16="http://schemas.microsoft.com/office/drawing/2014/main" id="{2F7069BD-CF1F-0469-CFEE-8762A709D05F}"/>
              </a:ext>
            </a:extLst>
          </p:cNvPr>
          <p:cNvSpPr txBox="1"/>
          <p:nvPr/>
        </p:nvSpPr>
        <p:spPr>
          <a:xfrm>
            <a:off x="9925002" y="5996226"/>
            <a:ext cx="196611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© </a:t>
            </a:r>
            <a:r>
              <a:rPr lang="en-US" sz="1000" dirty="0" err="1"/>
              <a:t>xnimrodx</a:t>
            </a:r>
            <a:r>
              <a:rPr lang="en-US" sz="1000" dirty="0"/>
              <a:t> – </a:t>
            </a:r>
            <a:r>
              <a:rPr lang="en-US" sz="1000" dirty="0" err="1"/>
              <a:t>Flaticon</a:t>
            </a:r>
            <a:endParaRPr lang="en-US" sz="1000" dirty="0"/>
          </a:p>
          <a:p>
            <a:r>
              <a:rPr lang="en-US" sz="1000" dirty="0"/>
              <a:t>© </a:t>
            </a:r>
            <a:r>
              <a:rPr lang="en-US" sz="1000" dirty="0" err="1"/>
              <a:t>Payungkead</a:t>
            </a:r>
            <a:r>
              <a:rPr lang="en-US" sz="1000" dirty="0"/>
              <a:t> – </a:t>
            </a:r>
            <a:r>
              <a:rPr lang="en-US" sz="1000" dirty="0" err="1"/>
              <a:t>Flaticon</a:t>
            </a:r>
            <a:endParaRPr lang="en-US" sz="1000" dirty="0"/>
          </a:p>
          <a:p>
            <a:r>
              <a:rPr lang="en-US" sz="1000" dirty="0"/>
              <a:t>© Icongeek26 – </a:t>
            </a:r>
            <a:r>
              <a:rPr lang="en-US" sz="1000" dirty="0" err="1"/>
              <a:t>Flaticon</a:t>
            </a:r>
            <a:endParaRPr lang="en-US" sz="1000" dirty="0"/>
          </a:p>
          <a:p>
            <a:r>
              <a:rPr lang="en-US" sz="1000" dirty="0"/>
              <a:t>© </a:t>
            </a:r>
            <a:r>
              <a:rPr lang="en-US" sz="1000" dirty="0" err="1"/>
              <a:t>Freepik</a:t>
            </a:r>
            <a:r>
              <a:rPr lang="en-US" sz="1000" dirty="0"/>
              <a:t> – </a:t>
            </a:r>
            <a:r>
              <a:rPr lang="en-US" sz="1000" dirty="0" err="1"/>
              <a:t>Flaticon</a:t>
            </a:r>
            <a:endParaRPr lang="en-US" sz="1000" dirty="0"/>
          </a:p>
          <a:p>
            <a:endParaRPr lang="en-US" sz="10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E690EF8-8188-784B-6908-F190C31F33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74917" y="1528951"/>
            <a:ext cx="1542646" cy="154264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8AC042D-44C9-A111-FAA2-5D771529E1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9128" y="4700707"/>
            <a:ext cx="1274684" cy="1274684"/>
          </a:xfrm>
          <a:prstGeom prst="rect">
            <a:avLst/>
          </a:prstGeom>
        </p:spPr>
      </p:pic>
      <p:pic>
        <p:nvPicPr>
          <p:cNvPr id="1032" name="Picture 8" descr="Amazon S3 Vector SVG Icon - SVG Repo">
            <a:extLst>
              <a:ext uri="{FF2B5EF4-FFF2-40B4-BE49-F238E27FC236}">
                <a16:creationId xmlns:a16="http://schemas.microsoft.com/office/drawing/2014/main" id="{71B45C2E-0105-920B-6892-9425B08AB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568" y="3908582"/>
            <a:ext cx="851804" cy="851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1518571B-26DD-8202-54F4-4615D5984EF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91371" y="1491775"/>
            <a:ext cx="1614871" cy="1614871"/>
          </a:xfrm>
          <a:prstGeom prst="rect">
            <a:avLst/>
          </a:prstGeom>
        </p:spPr>
      </p:pic>
      <p:sp>
        <p:nvSpPr>
          <p:cNvPr id="41" name="Arrow: Down 40">
            <a:extLst>
              <a:ext uri="{FF2B5EF4-FFF2-40B4-BE49-F238E27FC236}">
                <a16:creationId xmlns:a16="http://schemas.microsoft.com/office/drawing/2014/main" id="{5926E1C4-803F-9D98-6738-1ED01FBE64D1}"/>
              </a:ext>
            </a:extLst>
          </p:cNvPr>
          <p:cNvSpPr/>
          <p:nvPr/>
        </p:nvSpPr>
        <p:spPr>
          <a:xfrm rot="16200000">
            <a:off x="2897901" y="2543463"/>
            <a:ext cx="625642" cy="133336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1</a:t>
            </a:r>
          </a:p>
        </p:txBody>
      </p:sp>
      <p:sp>
        <p:nvSpPr>
          <p:cNvPr id="45" name="Arrow: Down 44">
            <a:extLst>
              <a:ext uri="{FF2B5EF4-FFF2-40B4-BE49-F238E27FC236}">
                <a16:creationId xmlns:a16="http://schemas.microsoft.com/office/drawing/2014/main" id="{C65156D8-0763-7D3E-2AF4-D2B9E76A0160}"/>
              </a:ext>
            </a:extLst>
          </p:cNvPr>
          <p:cNvSpPr/>
          <p:nvPr/>
        </p:nvSpPr>
        <p:spPr>
          <a:xfrm rot="5400000" flipH="1">
            <a:off x="5535935" y="2805852"/>
            <a:ext cx="625642" cy="814312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46" name="Arrow: Down 45">
            <a:extLst>
              <a:ext uri="{FF2B5EF4-FFF2-40B4-BE49-F238E27FC236}">
                <a16:creationId xmlns:a16="http://schemas.microsoft.com/office/drawing/2014/main" id="{ABB66FF7-4DD6-6A61-83B9-6044F6AE9CDA}"/>
              </a:ext>
            </a:extLst>
          </p:cNvPr>
          <p:cNvSpPr/>
          <p:nvPr/>
        </p:nvSpPr>
        <p:spPr>
          <a:xfrm rot="16200000" flipH="1">
            <a:off x="6029198" y="1763138"/>
            <a:ext cx="625642" cy="81704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379BCB0-B095-FB82-4C48-05D2D5B67EAC}"/>
              </a:ext>
            </a:extLst>
          </p:cNvPr>
          <p:cNvSpPr/>
          <p:nvPr/>
        </p:nvSpPr>
        <p:spPr>
          <a:xfrm>
            <a:off x="5933494" y="2069431"/>
            <a:ext cx="322418" cy="12982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Arrow: Left-Right 47">
            <a:extLst>
              <a:ext uri="{FF2B5EF4-FFF2-40B4-BE49-F238E27FC236}">
                <a16:creationId xmlns:a16="http://schemas.microsoft.com/office/drawing/2014/main" id="{282AAC3A-48DA-8D87-36CA-C1253D687759}"/>
              </a:ext>
            </a:extLst>
          </p:cNvPr>
          <p:cNvSpPr/>
          <p:nvPr/>
        </p:nvSpPr>
        <p:spPr>
          <a:xfrm>
            <a:off x="8512842" y="1903736"/>
            <a:ext cx="962075" cy="597907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2</a:t>
            </a:r>
          </a:p>
        </p:txBody>
      </p:sp>
      <p:sp>
        <p:nvSpPr>
          <p:cNvPr id="49" name="Arrow: U-Turn 48">
            <a:extLst>
              <a:ext uri="{FF2B5EF4-FFF2-40B4-BE49-F238E27FC236}">
                <a16:creationId xmlns:a16="http://schemas.microsoft.com/office/drawing/2014/main" id="{8ACAC7A3-2820-7520-9866-205078D48391}"/>
              </a:ext>
            </a:extLst>
          </p:cNvPr>
          <p:cNvSpPr/>
          <p:nvPr/>
        </p:nvSpPr>
        <p:spPr>
          <a:xfrm rot="5400000">
            <a:off x="10889430" y="1956179"/>
            <a:ext cx="962075" cy="686062"/>
          </a:xfrm>
          <a:prstGeom prst="uturnArrow">
            <a:avLst>
              <a:gd name="adj1" fmla="val 25000"/>
              <a:gd name="adj2" fmla="val 25000"/>
              <a:gd name="adj3" fmla="val 27222"/>
              <a:gd name="adj4" fmla="val 43750"/>
              <a:gd name="adj5" fmla="val 75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50" name="Arrow: Down 49">
            <a:extLst>
              <a:ext uri="{FF2B5EF4-FFF2-40B4-BE49-F238E27FC236}">
                <a16:creationId xmlns:a16="http://schemas.microsoft.com/office/drawing/2014/main" id="{A6D48704-CE0A-95A1-880A-A594EAA87DBC}"/>
              </a:ext>
            </a:extLst>
          </p:cNvPr>
          <p:cNvSpPr/>
          <p:nvPr/>
        </p:nvSpPr>
        <p:spPr>
          <a:xfrm rot="16200000" flipH="1">
            <a:off x="5497188" y="4452098"/>
            <a:ext cx="625642" cy="1621306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3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EB696E0-817F-4A68-01E3-E3009344F26D}"/>
              </a:ext>
            </a:extLst>
          </p:cNvPr>
          <p:cNvSpPr/>
          <p:nvPr/>
        </p:nvSpPr>
        <p:spPr>
          <a:xfrm>
            <a:off x="4999354" y="4047753"/>
            <a:ext cx="322418" cy="13700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TextBox 43">
            <a:extLst>
              <a:ext uri="{FF2B5EF4-FFF2-40B4-BE49-F238E27FC236}">
                <a16:creationId xmlns:a16="http://schemas.microsoft.com/office/drawing/2014/main" id="{72B59789-6BD5-98C9-D5B1-F8A9F2C171D5}"/>
              </a:ext>
            </a:extLst>
          </p:cNvPr>
          <p:cNvSpPr txBox="1"/>
          <p:nvPr/>
        </p:nvSpPr>
        <p:spPr>
          <a:xfrm>
            <a:off x="806755" y="2026746"/>
            <a:ext cx="15460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Web-Browser Client</a:t>
            </a:r>
          </a:p>
        </p:txBody>
      </p:sp>
      <p:sp>
        <p:nvSpPr>
          <p:cNvPr id="53" name="TextBox 43">
            <a:extLst>
              <a:ext uri="{FF2B5EF4-FFF2-40B4-BE49-F238E27FC236}">
                <a16:creationId xmlns:a16="http://schemas.microsoft.com/office/drawing/2014/main" id="{FDADBDAA-35B0-3680-1241-5B2CA39F0125}"/>
              </a:ext>
            </a:extLst>
          </p:cNvPr>
          <p:cNvSpPr txBox="1"/>
          <p:nvPr/>
        </p:nvSpPr>
        <p:spPr>
          <a:xfrm>
            <a:off x="4173202" y="1592551"/>
            <a:ext cx="11246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>
                <a:solidFill>
                  <a:schemeClr val="tx2"/>
                </a:solidFill>
              </a:rPr>
              <a:t>PyTest</a:t>
            </a:r>
            <a:r>
              <a:rPr lang="en-US" sz="1200" dirty="0">
                <a:solidFill>
                  <a:schemeClr val="tx2"/>
                </a:solidFill>
              </a:rPr>
              <a:t> Based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Test Server</a:t>
            </a:r>
          </a:p>
        </p:txBody>
      </p:sp>
      <p:pic>
        <p:nvPicPr>
          <p:cNvPr id="1036" name="Picture 12" descr="Logo">
            <a:extLst>
              <a:ext uri="{FF2B5EF4-FFF2-40B4-BE49-F238E27FC236}">
                <a16:creationId xmlns:a16="http://schemas.microsoft.com/office/drawing/2014/main" id="{C49907B9-1271-0036-61BF-3C376D0E51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28" r="32074" b="49257"/>
          <a:stretch>
            <a:fillRect/>
          </a:stretch>
        </p:blipFill>
        <p:spPr bwMode="auto">
          <a:xfrm>
            <a:off x="5046351" y="2023213"/>
            <a:ext cx="457962" cy="58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43">
            <a:extLst>
              <a:ext uri="{FF2B5EF4-FFF2-40B4-BE49-F238E27FC236}">
                <a16:creationId xmlns:a16="http://schemas.microsoft.com/office/drawing/2014/main" id="{D4BCC88C-C2A9-CBD7-56D0-9181AFE086CD}"/>
              </a:ext>
            </a:extLst>
          </p:cNvPr>
          <p:cNvSpPr txBox="1"/>
          <p:nvPr/>
        </p:nvSpPr>
        <p:spPr>
          <a:xfrm>
            <a:off x="6779955" y="1212498"/>
            <a:ext cx="16165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2"/>
                </a:solidFill>
              </a:rPr>
              <a:t>SSH Tunnel through 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Detector Workstation</a:t>
            </a:r>
          </a:p>
        </p:txBody>
      </p:sp>
      <p:sp>
        <p:nvSpPr>
          <p:cNvPr id="55" name="TextBox 43">
            <a:extLst>
              <a:ext uri="{FF2B5EF4-FFF2-40B4-BE49-F238E27FC236}">
                <a16:creationId xmlns:a16="http://schemas.microsoft.com/office/drawing/2014/main" id="{85091E6A-7C6B-3447-E41F-843BDF1A9046}"/>
              </a:ext>
            </a:extLst>
          </p:cNvPr>
          <p:cNvSpPr txBox="1"/>
          <p:nvPr/>
        </p:nvSpPr>
        <p:spPr>
          <a:xfrm>
            <a:off x="9456118" y="1164240"/>
            <a:ext cx="15488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2"/>
                </a:solidFill>
              </a:rPr>
              <a:t>Device-under-test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With Loopback Plug</a:t>
            </a:r>
          </a:p>
        </p:txBody>
      </p:sp>
      <p:sp>
        <p:nvSpPr>
          <p:cNvPr id="56" name="TextBox 43">
            <a:extLst>
              <a:ext uri="{FF2B5EF4-FFF2-40B4-BE49-F238E27FC236}">
                <a16:creationId xmlns:a16="http://schemas.microsoft.com/office/drawing/2014/main" id="{18AA65DA-6A89-BFEA-0617-5173413AC13C}"/>
              </a:ext>
            </a:extLst>
          </p:cNvPr>
          <p:cNvSpPr txBox="1"/>
          <p:nvPr/>
        </p:nvSpPr>
        <p:spPr>
          <a:xfrm>
            <a:off x="6803175" y="5965448"/>
            <a:ext cx="14558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2"/>
                </a:solidFill>
              </a:rPr>
              <a:t>S3 Report Storage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Bucket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C404A823-BBF5-7692-BDB4-1E70319BFA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0213" y="4657410"/>
            <a:ext cx="1274684" cy="1274684"/>
          </a:xfrm>
          <a:prstGeom prst="rect">
            <a:avLst/>
          </a:prstGeom>
        </p:spPr>
      </p:pic>
      <p:sp>
        <p:nvSpPr>
          <p:cNvPr id="59" name="Arrow: Left-Up 58">
            <a:extLst>
              <a:ext uri="{FF2B5EF4-FFF2-40B4-BE49-F238E27FC236}">
                <a16:creationId xmlns:a16="http://schemas.microsoft.com/office/drawing/2014/main" id="{A6A8AA68-F73D-0BC0-BF9F-F1BFD41AECED}"/>
              </a:ext>
            </a:extLst>
          </p:cNvPr>
          <p:cNvSpPr/>
          <p:nvPr/>
        </p:nvSpPr>
        <p:spPr>
          <a:xfrm>
            <a:off x="3760882" y="4015899"/>
            <a:ext cx="1088183" cy="1545289"/>
          </a:xfrm>
          <a:prstGeom prst="leftUpArrow">
            <a:avLst>
              <a:gd name="adj1" fmla="val 25730"/>
              <a:gd name="adj2" fmla="val 27462"/>
              <a:gd name="adj3" fmla="val 17022"/>
            </a:avLst>
          </a:prstGeom>
          <a:noFill/>
          <a:ln w="28575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38" name="Picture 14" descr="IBM Maximo">
            <a:extLst>
              <a:ext uri="{FF2B5EF4-FFF2-40B4-BE49-F238E27FC236}">
                <a16:creationId xmlns:a16="http://schemas.microsoft.com/office/drawing/2014/main" id="{2C916A2C-0051-47A9-27DB-A5C0B169B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035" y="4101688"/>
            <a:ext cx="995599" cy="499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43">
            <a:extLst>
              <a:ext uri="{FF2B5EF4-FFF2-40B4-BE49-F238E27FC236}">
                <a16:creationId xmlns:a16="http://schemas.microsoft.com/office/drawing/2014/main" id="{9DCFF159-9F2E-B2AC-95F8-5F9F7F4991C8}"/>
              </a:ext>
            </a:extLst>
          </p:cNvPr>
          <p:cNvSpPr txBox="1"/>
          <p:nvPr/>
        </p:nvSpPr>
        <p:spPr>
          <a:xfrm>
            <a:off x="2212818" y="5982300"/>
            <a:ext cx="17139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2"/>
                </a:solidFill>
              </a:rPr>
              <a:t>IBM Maximo Inventory</a:t>
            </a:r>
          </a:p>
        </p:txBody>
      </p:sp>
      <p:sp>
        <p:nvSpPr>
          <p:cNvPr id="61" name="Arrow: Left-Up 60">
            <a:extLst>
              <a:ext uri="{FF2B5EF4-FFF2-40B4-BE49-F238E27FC236}">
                <a16:creationId xmlns:a16="http://schemas.microsoft.com/office/drawing/2014/main" id="{ABED5F13-394A-C1E8-B09F-0BC7E4882F4A}"/>
              </a:ext>
            </a:extLst>
          </p:cNvPr>
          <p:cNvSpPr/>
          <p:nvPr/>
        </p:nvSpPr>
        <p:spPr>
          <a:xfrm flipH="1">
            <a:off x="1244412" y="4023348"/>
            <a:ext cx="1088183" cy="1545289"/>
          </a:xfrm>
          <a:prstGeom prst="leftUpArrow">
            <a:avLst>
              <a:gd name="adj1" fmla="val 25730"/>
              <a:gd name="adj2" fmla="val 27462"/>
              <a:gd name="adj3" fmla="val 17022"/>
            </a:avLst>
          </a:prstGeom>
          <a:noFill/>
          <a:ln w="28575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40" name="Picture 16">
            <a:extLst>
              <a:ext uri="{FF2B5EF4-FFF2-40B4-BE49-F238E27FC236}">
                <a16:creationId xmlns:a16="http://schemas.microsoft.com/office/drawing/2014/main" id="{A31987B4-39AE-6F52-3734-538029699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616" y="3987197"/>
            <a:ext cx="3048383" cy="41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Jira logo">
            <a:extLst>
              <a:ext uri="{FF2B5EF4-FFF2-40B4-BE49-F238E27FC236}">
                <a16:creationId xmlns:a16="http://schemas.microsoft.com/office/drawing/2014/main" id="{F5F62CA9-571C-7A46-4AF8-5E7A448DE9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6" t="21141" r="11918" b="25035"/>
          <a:stretch>
            <a:fillRect/>
          </a:stretch>
        </p:blipFill>
        <p:spPr bwMode="auto">
          <a:xfrm>
            <a:off x="8399620" y="5008015"/>
            <a:ext cx="1274684" cy="49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" name="TextBox 1023">
            <a:extLst>
              <a:ext uri="{FF2B5EF4-FFF2-40B4-BE49-F238E27FC236}">
                <a16:creationId xmlns:a16="http://schemas.microsoft.com/office/drawing/2014/main" id="{1053678C-D31C-9C72-B9CA-F73D601C4840}"/>
              </a:ext>
            </a:extLst>
          </p:cNvPr>
          <p:cNvSpPr txBox="1"/>
          <p:nvPr/>
        </p:nvSpPr>
        <p:spPr>
          <a:xfrm>
            <a:off x="8396551" y="4713656"/>
            <a:ext cx="23712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+ JIRA Ticket System</a:t>
            </a:r>
          </a:p>
        </p:txBody>
      </p:sp>
    </p:spTree>
    <p:extLst>
      <p:ext uri="{BB962C8B-B14F-4D97-AF65-F5344CB8AC3E}">
        <p14:creationId xmlns:p14="http://schemas.microsoft.com/office/powerpoint/2010/main" val="72051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970B2-404B-766B-93FC-0A3E605A0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5358C-2795-6344-A3B1-5AD2154F5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opping Lis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5A1A1E-D94D-9065-E02D-E6B795859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8385D17-39E7-9DC0-268C-B9CDE4AE6763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We’d like to buy a few mechanical parts!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0334EB1-42C4-0D1D-49DA-7099BBB0411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0CB2025-0BFE-E131-D8A3-8E4D55C12878}"/>
              </a:ext>
            </a:extLst>
          </p:cNvPr>
          <p:cNvGrpSpPr/>
          <p:nvPr/>
        </p:nvGrpSpPr>
        <p:grpSpPr>
          <a:xfrm>
            <a:off x="1954636" y="4137919"/>
            <a:ext cx="4099560" cy="2105440"/>
            <a:chOff x="1617554" y="3980833"/>
            <a:chExt cx="4099560" cy="210544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4E21E2E-C3AE-ACB0-9228-C1616DBCC9C9}"/>
                </a:ext>
              </a:extLst>
            </p:cNvPr>
            <p:cNvSpPr/>
            <p:nvPr/>
          </p:nvSpPr>
          <p:spPr>
            <a:xfrm>
              <a:off x="1617554" y="3980833"/>
              <a:ext cx="4099560" cy="210544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b="1" dirty="0">
                  <a:solidFill>
                    <a:schemeClr val="tx1"/>
                  </a:solidFill>
                </a:rPr>
                <a:t>500x FMC Filler Panel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198E14F-7313-29FF-49F2-B3F0CF7D0474}"/>
                </a:ext>
              </a:extLst>
            </p:cNvPr>
            <p:cNvGrpSpPr/>
            <p:nvPr/>
          </p:nvGrpSpPr>
          <p:grpSpPr>
            <a:xfrm>
              <a:off x="1881078" y="4422820"/>
              <a:ext cx="3489326" cy="1507323"/>
              <a:chOff x="1881078" y="4422820"/>
              <a:chExt cx="3489326" cy="1507323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1AA41B8D-B9BA-3F44-F47B-DA5BBC6C3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881078" y="4422820"/>
                <a:ext cx="3489326" cy="1507323"/>
              </a:xfrm>
              <a:prstGeom prst="rect">
                <a:avLst/>
              </a:prstGeom>
            </p:spPr>
          </p:pic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6A06A720-4CEA-9B3D-8DB1-278298F54B74}"/>
                  </a:ext>
                </a:extLst>
              </p:cNvPr>
              <p:cNvSpPr/>
              <p:nvPr/>
            </p:nvSpPr>
            <p:spPr>
              <a:xfrm>
                <a:off x="3933512" y="4633176"/>
                <a:ext cx="1047750" cy="215900"/>
              </a:xfrm>
              <a:prstGeom prst="roundRect">
                <a:avLst>
                  <a:gd name="adj" fmla="val 34314"/>
                </a:avLst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7991528-9814-50F1-3642-E52D174A037A}"/>
              </a:ext>
            </a:extLst>
          </p:cNvPr>
          <p:cNvGrpSpPr/>
          <p:nvPr/>
        </p:nvGrpSpPr>
        <p:grpSpPr>
          <a:xfrm>
            <a:off x="6317720" y="3803338"/>
            <a:ext cx="4099560" cy="2283891"/>
            <a:chOff x="6211362" y="3980832"/>
            <a:chExt cx="4099560" cy="228389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F682729-57B9-DF8F-0382-15FC1D26C151}"/>
                </a:ext>
              </a:extLst>
            </p:cNvPr>
            <p:cNvSpPr/>
            <p:nvPr/>
          </p:nvSpPr>
          <p:spPr>
            <a:xfrm>
              <a:off x="6211362" y="3980832"/>
              <a:ext cx="4099560" cy="228389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b="1" dirty="0">
                  <a:solidFill>
                    <a:schemeClr val="tx1"/>
                  </a:solidFill>
                </a:rPr>
                <a:t>100x Mid-Size to Full-Size Adapter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0C4AD71-FC4E-ABCC-8D3E-5FBF6A6A1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47660" y="4439549"/>
              <a:ext cx="3474337" cy="1723360"/>
            </a:xfrm>
            <a:prstGeom prst="rect">
              <a:avLst/>
            </a:prstGeom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980D16E-64E8-F55E-146C-5EA963D9EC59}"/>
                </a:ext>
              </a:extLst>
            </p:cNvPr>
            <p:cNvSpPr/>
            <p:nvPr/>
          </p:nvSpPr>
          <p:spPr>
            <a:xfrm>
              <a:off x="6655894" y="4932277"/>
              <a:ext cx="3357563" cy="190500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2CC9C39-6E72-B47C-7C74-0F2503D1A06A}"/>
                </a:ext>
              </a:extLst>
            </p:cNvPr>
            <p:cNvSpPr/>
            <p:nvPr/>
          </p:nvSpPr>
          <p:spPr>
            <a:xfrm>
              <a:off x="6675990" y="4950804"/>
              <a:ext cx="161925" cy="1619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8491B42-D5D6-C1AB-F861-473A6CA62BEB}"/>
                </a:ext>
              </a:extLst>
            </p:cNvPr>
            <p:cNvSpPr/>
            <p:nvPr/>
          </p:nvSpPr>
          <p:spPr>
            <a:xfrm>
              <a:off x="9811915" y="4938936"/>
              <a:ext cx="161925" cy="1619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AD1AEE8-7A69-160C-C46E-6A2AD0B033BE}"/>
              </a:ext>
            </a:extLst>
          </p:cNvPr>
          <p:cNvGrpSpPr/>
          <p:nvPr/>
        </p:nvGrpSpPr>
        <p:grpSpPr>
          <a:xfrm>
            <a:off x="1512650" y="1792662"/>
            <a:ext cx="4099560" cy="2068191"/>
            <a:chOff x="1044798" y="1684641"/>
            <a:chExt cx="4099560" cy="206819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DE34F19-9B94-F724-87B1-66075E4E43CB}"/>
                </a:ext>
              </a:extLst>
            </p:cNvPr>
            <p:cNvSpPr/>
            <p:nvPr/>
          </p:nvSpPr>
          <p:spPr>
            <a:xfrm>
              <a:off x="1044798" y="1684641"/>
              <a:ext cx="4099560" cy="206819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b="1" dirty="0">
                  <a:solidFill>
                    <a:schemeClr val="tx1"/>
                  </a:solidFill>
                </a:rPr>
                <a:t>250x Native R2x Air Filter</a:t>
              </a:r>
            </a:p>
          </p:txBody>
        </p:sp>
        <p:pic>
          <p:nvPicPr>
            <p:cNvPr id="20" name="Picture 19" descr="A rectangular black rectangular object on a grey surface&#10;&#10;AI-generated content may be incorrect.">
              <a:extLst>
                <a:ext uri="{FF2B5EF4-FFF2-40B4-BE49-F238E27FC236}">
                  <a16:creationId xmlns:a16="http://schemas.microsoft.com/office/drawing/2014/main" id="{3CE2716B-8FC1-45ED-88E0-EDF2FAE53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86" t="3593" r="32268" b="8749"/>
            <a:stretch>
              <a:fillRect/>
            </a:stretch>
          </p:blipFill>
          <p:spPr>
            <a:xfrm rot="16200000">
              <a:off x="2395465" y="1002309"/>
              <a:ext cx="1398226" cy="375285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2F6BF7F-9C19-20BE-7C47-93C021240F3C}"/>
              </a:ext>
            </a:extLst>
          </p:cNvPr>
          <p:cNvGrpSpPr/>
          <p:nvPr/>
        </p:nvGrpSpPr>
        <p:grpSpPr>
          <a:xfrm>
            <a:off x="5898461" y="960226"/>
            <a:ext cx="4099560" cy="2570433"/>
            <a:chOff x="6510906" y="964166"/>
            <a:chExt cx="4099560" cy="257043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EBC40A-DC96-5641-6145-25FC5B5F01D5}"/>
                </a:ext>
              </a:extLst>
            </p:cNvPr>
            <p:cNvSpPr/>
            <p:nvPr/>
          </p:nvSpPr>
          <p:spPr>
            <a:xfrm>
              <a:off x="6510906" y="964166"/>
              <a:ext cx="4099560" cy="257043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b="1" dirty="0">
                  <a:solidFill>
                    <a:schemeClr val="tx1"/>
                  </a:solidFill>
                </a:rPr>
                <a:t>30x Native R2x Spare Fan Tray</a:t>
              </a:r>
            </a:p>
          </p:txBody>
        </p:sp>
        <p:pic>
          <p:nvPicPr>
            <p:cNvPr id="24" name="Picture 23" descr="A black rectangular object with four black parts&#10;&#10;AI-generated content may be incorrect.">
              <a:extLst>
                <a:ext uri="{FF2B5EF4-FFF2-40B4-BE49-F238E27FC236}">
                  <a16:creationId xmlns:a16="http://schemas.microsoft.com/office/drawing/2014/main" id="{5CE6D8CE-4A47-468D-31FA-E1F2C7FD9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03" t="22123" r="9639" b="13530"/>
            <a:stretch>
              <a:fillRect/>
            </a:stretch>
          </p:blipFill>
          <p:spPr>
            <a:xfrm>
              <a:off x="7051543" y="1439559"/>
              <a:ext cx="3192616" cy="1946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803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7F375-482C-9B68-1D5B-084D32A3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C08F8F-24B3-3F97-FF53-B5221A2CE4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BB075EF-3155-9A27-9313-5C5E1EF1E3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E6DF5C-7A55-077D-803B-CD0C9ABF3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@ES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E1ACA2-0F22-6DAB-2873-00EC8CF3CE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 err="1"/>
              <a:t>european</a:t>
            </a:r>
            <a:r>
              <a:rPr lang="en-GB" dirty="0"/>
              <a:t>-southern-observator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F50D11C-D35F-5B37-2F04-940968A89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@ESOobservator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7EA70F-5E7A-BC43-B7EC-85091096E6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athias Richerzhagen</a:t>
            </a:r>
          </a:p>
          <a:p>
            <a:r>
              <a:rPr lang="en-GB"/>
              <a:t>mathias.richerzhagen</a:t>
            </a:r>
            <a:r>
              <a:rPr lang="en-GB" dirty="0"/>
              <a:t>@eso.org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C17795AD-7C5C-E27D-7FD9-18A807BC39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609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05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just"/>
            <a:r>
              <a:rPr lang="en-GB" sz="1800" dirty="0"/>
              <a:t>Abstract:</a:t>
            </a:r>
            <a:br>
              <a:rPr lang="en-GB" sz="1800" b="0" dirty="0"/>
            </a:br>
            <a:br>
              <a:rPr lang="en-GB" sz="1800" b="0" dirty="0"/>
            </a:br>
            <a:r>
              <a:rPr lang="en-GB" sz="1800" b="0" dirty="0"/>
              <a:t>In the time since the last MicroTCA workshop we have achieved laboratory first-light with the final two detector families to be supported by our MicroTCA.4 based general detector controller, NGCII. Besides CCDs, the workhorse detector for ground-based astronomy, we have also brought up Geosnap, a fully digital detector transmitting its pixel data through high-speed digital signals. Meanwhile, we are in the process of preparing CMOS detector systems for large scale deployment. We are developing test tooling for post-production testing, estimating the need for, and starting the procurement of spare parts, and are in the process of performing final environmental tests for CMOS detector specific systems.</a:t>
            </a:r>
            <a:endParaRPr lang="de-CH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893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5BF338-D8A6-53C9-0D24-9B3D5B7BEF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otw2544a">
            <a:hlinkClick r:id="" action="ppaction://media"/>
            <a:extLst>
              <a:ext uri="{FF2B5EF4-FFF2-40B4-BE49-F238E27FC236}">
                <a16:creationId xmlns:a16="http://schemas.microsoft.com/office/drawing/2014/main" id="{E72398FD-FA59-4917-8FC8-1D6FD89B906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C4BC069-77A1-FE09-0610-CBAEF5B8F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moves!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B03D16-2742-97A9-0325-89727503AC1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88835ECE-80D8-F410-2A75-BB73EBF483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2199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54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ystem Overview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DF368057-D48C-BC4E-CC75-5F17E644C4C2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MicroTCA Based Detector Controller - Recap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pic>
        <p:nvPicPr>
          <p:cNvPr id="17" name="Picture 16" descr="A back of a machine&#10;&#10;AI-generated content may be incorrect.">
            <a:extLst>
              <a:ext uri="{FF2B5EF4-FFF2-40B4-BE49-F238E27FC236}">
                <a16:creationId xmlns:a16="http://schemas.microsoft.com/office/drawing/2014/main" id="{A18AF36D-EB05-BFD8-7792-3B48E598E6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t="19263" r="4578" b="32825"/>
          <a:stretch>
            <a:fillRect/>
          </a:stretch>
        </p:blipFill>
        <p:spPr>
          <a:xfrm>
            <a:off x="2532185" y="2356243"/>
            <a:ext cx="6380703" cy="2637788"/>
          </a:xfrm>
          <a:prstGeom prst="rect">
            <a:avLst/>
          </a:prstGeom>
        </p:spPr>
      </p:pic>
      <p:sp>
        <p:nvSpPr>
          <p:cNvPr id="18" name="Arrow: Bent-Up 17">
            <a:extLst>
              <a:ext uri="{FF2B5EF4-FFF2-40B4-BE49-F238E27FC236}">
                <a16:creationId xmlns:a16="http://schemas.microsoft.com/office/drawing/2014/main" id="{E62985BA-D581-1DBE-A0A3-E66EAEDB0E5A}"/>
              </a:ext>
            </a:extLst>
          </p:cNvPr>
          <p:cNvSpPr/>
          <p:nvPr/>
        </p:nvSpPr>
        <p:spPr>
          <a:xfrm>
            <a:off x="2974313" y="4813160"/>
            <a:ext cx="1778558" cy="1075174"/>
          </a:xfrm>
          <a:prstGeom prst="bent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Arrow: Bent-Up 18">
            <a:extLst>
              <a:ext uri="{FF2B5EF4-FFF2-40B4-BE49-F238E27FC236}">
                <a16:creationId xmlns:a16="http://schemas.microsoft.com/office/drawing/2014/main" id="{A02CCA53-30F7-DEF0-C765-D06A20408164}"/>
              </a:ext>
            </a:extLst>
          </p:cNvPr>
          <p:cNvSpPr/>
          <p:nvPr/>
        </p:nvSpPr>
        <p:spPr>
          <a:xfrm rot="10800000">
            <a:off x="7272076" y="1582306"/>
            <a:ext cx="1778558" cy="1075174"/>
          </a:xfrm>
          <a:prstGeom prst="bent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Arrow: Bent-Up 19">
            <a:extLst>
              <a:ext uri="{FF2B5EF4-FFF2-40B4-BE49-F238E27FC236}">
                <a16:creationId xmlns:a16="http://schemas.microsoft.com/office/drawing/2014/main" id="{FC7B6883-CF04-4B26-4A85-28FFED66D350}"/>
              </a:ext>
            </a:extLst>
          </p:cNvPr>
          <p:cNvSpPr/>
          <p:nvPr/>
        </p:nvSpPr>
        <p:spPr>
          <a:xfrm flipV="1">
            <a:off x="2321169" y="2431162"/>
            <a:ext cx="3848644" cy="1075174"/>
          </a:xfrm>
          <a:prstGeom prst="bent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94CAE9-6A7F-D837-CA14-10C126F7FADB}"/>
              </a:ext>
            </a:extLst>
          </p:cNvPr>
          <p:cNvSpPr/>
          <p:nvPr/>
        </p:nvSpPr>
        <p:spPr>
          <a:xfrm>
            <a:off x="9142534" y="1246572"/>
            <a:ext cx="2488938" cy="9394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etector</a:t>
            </a:r>
          </a:p>
          <a:p>
            <a:pPr algn="ctr"/>
            <a:r>
              <a:rPr lang="en-GB" dirty="0"/>
              <a:t>Interfac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A4CF6B2-6732-F87A-E723-11242BAF54D3}"/>
              </a:ext>
            </a:extLst>
          </p:cNvPr>
          <p:cNvSpPr/>
          <p:nvPr/>
        </p:nvSpPr>
        <p:spPr>
          <a:xfrm>
            <a:off x="393475" y="5268166"/>
            <a:ext cx="2488938" cy="9394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Network</a:t>
            </a:r>
          </a:p>
          <a:p>
            <a:pPr algn="ctr"/>
            <a:r>
              <a:rPr lang="en-GB" dirty="0"/>
              <a:t>Interfa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246057-00C8-157D-2FAC-CA9B2C74B490}"/>
              </a:ext>
            </a:extLst>
          </p:cNvPr>
          <p:cNvSpPr/>
          <p:nvPr/>
        </p:nvSpPr>
        <p:spPr>
          <a:xfrm>
            <a:off x="548744" y="2119893"/>
            <a:ext cx="1668741" cy="9394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C or DC</a:t>
            </a:r>
          </a:p>
          <a:p>
            <a:pPr algn="ctr"/>
            <a:r>
              <a:rPr lang="en-GB" dirty="0"/>
              <a:t>Power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ABA07D9F-C032-8EB5-185C-47FDA65D31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534" y="2356243"/>
            <a:ext cx="2488938" cy="1928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357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8B9B7F-E983-17DF-2462-B65626054F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6D51F29-D46C-8A26-EB50-A6E1F960C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6D51F29-D46C-8A26-EB50-A6E1F960C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01F9D104-6AA0-673F-E2B5-DCA441DF0F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tector Statu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45E8D29-94DF-4DF7-4A49-86A40DC0254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797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92020-6988-FCAD-0DFF-FCCFD75FC7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B52C99-16F6-66CD-3DB0-4D874418A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og CMOS Detector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DC73E1-DC5B-C7F2-6FAC-5036E4B41B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0943" y="4806565"/>
            <a:ext cx="6249628" cy="1279707"/>
          </a:xfrm>
        </p:spPr>
        <p:txBody>
          <a:bodyPr/>
          <a:lstStyle/>
          <a:p>
            <a:pPr lvl="1"/>
            <a:r>
              <a:rPr lang="en-GB" dirty="0"/>
              <a:t>Detector performance fully validated in 2023 and 2024</a:t>
            </a:r>
          </a:p>
          <a:p>
            <a:pPr lvl="1"/>
            <a:r>
              <a:rPr lang="en-GB" dirty="0"/>
              <a:t>Need to deliver ~25 Systems in 2026 and 2027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8C0524-758C-5465-4428-703A9F984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A887E87-C00C-162C-8195-9795AF01B160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HAWAII-</a:t>
            </a:r>
            <a:r>
              <a:rPr lang="en-GB" dirty="0" err="1"/>
              <a:t>xRG</a:t>
            </a:r>
            <a:r>
              <a:rPr lang="en-GB" dirty="0"/>
              <a:t> Hybrid CMOS / SAPHIRA eAPD CMO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0FB25E0-3FBB-91B5-92E9-1F266461D6F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pic>
        <p:nvPicPr>
          <p:cNvPr id="10" name="Picture 9" descr="A back of a machine&#10;&#10;AI-generated content may be incorrect.">
            <a:extLst>
              <a:ext uri="{FF2B5EF4-FFF2-40B4-BE49-F238E27FC236}">
                <a16:creationId xmlns:a16="http://schemas.microsoft.com/office/drawing/2014/main" id="{492B3CB3-528C-2337-27D2-3801276312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t="19263" r="4578" b="32825"/>
          <a:stretch>
            <a:fillRect/>
          </a:stretch>
        </p:blipFill>
        <p:spPr>
          <a:xfrm>
            <a:off x="3155629" y="1902632"/>
            <a:ext cx="6314942" cy="261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306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E61941-EB5A-3C98-30CC-14516EEE6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CE7947-0449-F2D9-E0DE-08DE07208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og CMOS Detector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21F807-26AF-548F-26F7-1E6193E8A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3168461"/>
            <a:ext cx="3397380" cy="1279707"/>
          </a:xfrm>
        </p:spPr>
        <p:txBody>
          <a:bodyPr/>
          <a:lstStyle/>
          <a:p>
            <a:pPr lvl="1"/>
            <a:r>
              <a:rPr lang="en-GB" dirty="0"/>
              <a:t>All assembly and testing done in-house.</a:t>
            </a:r>
          </a:p>
          <a:p>
            <a:pPr lvl="1"/>
            <a:r>
              <a:rPr lang="en-GB" dirty="0"/>
              <a:t>Very limited external delivery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3711C1-F34F-4539-92E2-8E965FC7B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1CB76F90-D4E3-F681-17E1-0B995E1675E9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HAWAII-</a:t>
            </a:r>
            <a:r>
              <a:rPr lang="en-GB" dirty="0" err="1"/>
              <a:t>xRG</a:t>
            </a:r>
            <a:r>
              <a:rPr lang="en-GB" dirty="0"/>
              <a:t> Hybrid CMOS / SAPHIRA eAPD CMO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B6EDF7E-8AA2-F466-7DB9-2851582616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7E6A25-F0CB-C222-85CD-B9E1A4A708B7}"/>
              </a:ext>
            </a:extLst>
          </p:cNvPr>
          <p:cNvSpPr/>
          <p:nvPr/>
        </p:nvSpPr>
        <p:spPr>
          <a:xfrm>
            <a:off x="936624" y="2149255"/>
            <a:ext cx="3397381" cy="9004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rototyp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0B48D-D2EF-7751-558C-F7B9F6690B94}"/>
              </a:ext>
            </a:extLst>
          </p:cNvPr>
          <p:cNvSpPr/>
          <p:nvPr/>
        </p:nvSpPr>
        <p:spPr>
          <a:xfrm>
            <a:off x="4544547" y="2149255"/>
            <a:ext cx="3397381" cy="900431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re-Ser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F8953A-29A7-D17D-FB46-E3C5EF47D253}"/>
              </a:ext>
            </a:extLst>
          </p:cNvPr>
          <p:cNvSpPr/>
          <p:nvPr/>
        </p:nvSpPr>
        <p:spPr>
          <a:xfrm>
            <a:off x="8152470" y="2149255"/>
            <a:ext cx="3397381" cy="9004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Serie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4301EE0-894B-DA3A-3AD3-7289F64237CA}"/>
              </a:ext>
            </a:extLst>
          </p:cNvPr>
          <p:cNvSpPr txBox="1">
            <a:spLocks/>
          </p:cNvSpPr>
          <p:nvPr/>
        </p:nvSpPr>
        <p:spPr>
          <a:xfrm>
            <a:off x="4631308" y="3168460"/>
            <a:ext cx="3397380" cy="2392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Assembly and testing done by external contractor.</a:t>
            </a:r>
          </a:p>
          <a:p>
            <a:pPr lvl="1"/>
            <a:r>
              <a:rPr lang="en-GB" dirty="0"/>
              <a:t>External delivery within Europe.</a:t>
            </a:r>
          </a:p>
          <a:p>
            <a:pPr lvl="1"/>
            <a:r>
              <a:rPr lang="en-GB" dirty="0"/>
              <a:t>Considered “Series” if environmental testing passes</a:t>
            </a:r>
          </a:p>
          <a:p>
            <a:pPr lvl="1"/>
            <a:endParaRPr lang="en-GB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36F22B3-FC8C-0F20-B354-843475F9D5B8}"/>
              </a:ext>
            </a:extLst>
          </p:cNvPr>
          <p:cNvSpPr txBox="1">
            <a:spLocks/>
          </p:cNvSpPr>
          <p:nvPr/>
        </p:nvSpPr>
        <p:spPr>
          <a:xfrm>
            <a:off x="8177340" y="3168460"/>
            <a:ext cx="3397380" cy="2392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Assembly and testing done by external contractor.</a:t>
            </a:r>
          </a:p>
          <a:p>
            <a:pPr lvl="1"/>
            <a:r>
              <a:rPr lang="en-GB" dirty="0"/>
              <a:t>External delivery.</a:t>
            </a:r>
          </a:p>
          <a:p>
            <a:pPr lvl="1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568452-7CBD-0C8F-4D4E-2EF025A9A8E9}"/>
              </a:ext>
            </a:extLst>
          </p:cNvPr>
          <p:cNvSpPr/>
          <p:nvPr/>
        </p:nvSpPr>
        <p:spPr>
          <a:xfrm>
            <a:off x="936624" y="5465264"/>
            <a:ext cx="5147376" cy="7587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aged by technology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development program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97EBF3-55B9-E6AA-0E8E-5DDD83F537AC}"/>
              </a:ext>
            </a:extLst>
          </p:cNvPr>
          <p:cNvSpPr/>
          <p:nvPr/>
        </p:nvSpPr>
        <p:spPr>
          <a:xfrm>
            <a:off x="6402476" y="5465264"/>
            <a:ext cx="5147375" cy="7587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aged by directorate of engineering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DEDBB53-397E-5440-D986-D0221C3D947D}"/>
              </a:ext>
            </a:extLst>
          </p:cNvPr>
          <p:cNvCxnSpPr>
            <a:cxnSpLocks/>
          </p:cNvCxnSpPr>
          <p:nvPr/>
        </p:nvCxnSpPr>
        <p:spPr>
          <a:xfrm flipV="1">
            <a:off x="4441954" y="2009775"/>
            <a:ext cx="0" cy="589695"/>
          </a:xfrm>
          <a:prstGeom prst="line">
            <a:avLst/>
          </a:prstGeom>
          <a:ln w="38100">
            <a:solidFill>
              <a:schemeClr val="accent4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D643E28-ADD4-9A57-E80C-8CD1CB568320}"/>
              </a:ext>
            </a:extLst>
          </p:cNvPr>
          <p:cNvCxnSpPr>
            <a:cxnSpLocks/>
          </p:cNvCxnSpPr>
          <p:nvPr/>
        </p:nvCxnSpPr>
        <p:spPr>
          <a:xfrm flipV="1">
            <a:off x="8044692" y="2009775"/>
            <a:ext cx="0" cy="589695"/>
          </a:xfrm>
          <a:prstGeom prst="line">
            <a:avLst/>
          </a:prstGeom>
          <a:ln w="38100">
            <a:solidFill>
              <a:schemeClr val="accent4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32247E4-FAC8-34DB-AEBA-709A80EDC080}"/>
              </a:ext>
            </a:extLst>
          </p:cNvPr>
          <p:cNvSpPr txBox="1"/>
          <p:nvPr/>
        </p:nvSpPr>
        <p:spPr>
          <a:xfrm>
            <a:off x="3015922" y="1701998"/>
            <a:ext cx="2852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4"/>
                </a:solidFill>
              </a:rPr>
              <a:t>Manufacturing Readiness Re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25B4D5D-AB9C-2B72-7BB4-231D378641AD}"/>
              </a:ext>
            </a:extLst>
          </p:cNvPr>
          <p:cNvSpPr txBox="1"/>
          <p:nvPr/>
        </p:nvSpPr>
        <p:spPr>
          <a:xfrm>
            <a:off x="7172851" y="1701080"/>
            <a:ext cx="17436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4"/>
                </a:solidFill>
              </a:rPr>
              <a:t>Environmental</a:t>
            </a:r>
            <a:r>
              <a:rPr lang="en-GB" sz="1400" dirty="0">
                <a:solidFill>
                  <a:srgbClr val="C00000"/>
                </a:solidFill>
              </a:rPr>
              <a:t> </a:t>
            </a:r>
            <a:r>
              <a:rPr lang="en-GB" sz="1400" dirty="0">
                <a:solidFill>
                  <a:schemeClr val="accent4"/>
                </a:solidFill>
              </a:rPr>
              <a:t>Tes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11CBD03-7083-75D0-9A55-32E22BECFF91}"/>
              </a:ext>
            </a:extLst>
          </p:cNvPr>
          <p:cNvCxnSpPr>
            <a:cxnSpLocks/>
          </p:cNvCxnSpPr>
          <p:nvPr/>
        </p:nvCxnSpPr>
        <p:spPr>
          <a:xfrm flipH="1">
            <a:off x="8280400" y="2008857"/>
            <a:ext cx="497840" cy="590613"/>
          </a:xfrm>
          <a:prstGeom prst="straightConnector1">
            <a:avLst/>
          </a:prstGeom>
          <a:ln w="76200" cap="rnd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5484D51-2DE0-B176-A6A6-3AF54F5B8C07}"/>
              </a:ext>
            </a:extLst>
          </p:cNvPr>
          <p:cNvCxnSpPr>
            <a:cxnSpLocks/>
          </p:cNvCxnSpPr>
          <p:nvPr/>
        </p:nvCxnSpPr>
        <p:spPr>
          <a:xfrm flipH="1">
            <a:off x="8778240" y="2007855"/>
            <a:ext cx="849903" cy="2923"/>
          </a:xfrm>
          <a:prstGeom prst="straightConnector1">
            <a:avLst/>
          </a:prstGeom>
          <a:ln w="76200" cap="rnd">
            <a:solidFill>
              <a:srgbClr val="C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DC82AD1-97A6-B9E6-3335-06BBD63973F3}"/>
              </a:ext>
            </a:extLst>
          </p:cNvPr>
          <p:cNvSpPr txBox="1"/>
          <p:nvPr/>
        </p:nvSpPr>
        <p:spPr>
          <a:xfrm>
            <a:off x="8976163" y="1621000"/>
            <a:ext cx="1450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C00000"/>
                </a:solidFill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3339575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CBB99-F021-DA1B-93F4-5127A8FB9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4F5A41-ED1D-9191-1710-B7A872C34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og CMOS Detector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9B2A3F-D703-9112-4381-325A4A7E0E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27424" y="307573"/>
            <a:ext cx="4725140" cy="2452583"/>
          </a:xfrm>
        </p:spPr>
        <p:txBody>
          <a:bodyPr/>
          <a:lstStyle/>
          <a:p>
            <a:pPr marL="0" lvl="1" indent="0">
              <a:buNone/>
            </a:pPr>
            <a:r>
              <a:rPr lang="en-GB" b="1" dirty="0"/>
              <a:t>Thermal Test (In-House):</a:t>
            </a:r>
          </a:p>
          <a:p>
            <a:pPr marL="0" lvl="1" indent="0">
              <a:buNone/>
            </a:pPr>
            <a:r>
              <a:rPr lang="en-GB" dirty="0"/>
              <a:t>✅High-Temperature Operation (+40°C)</a:t>
            </a:r>
          </a:p>
          <a:p>
            <a:pPr marL="0" lvl="1" indent="0">
              <a:buNone/>
            </a:pPr>
            <a:r>
              <a:rPr lang="en-GB" dirty="0"/>
              <a:t>✅Low-Temperature Operation (+0°C)</a:t>
            </a:r>
          </a:p>
          <a:p>
            <a:pPr marL="0" lvl="1" indent="0">
              <a:buNone/>
            </a:pPr>
            <a:r>
              <a:rPr lang="en-GB" dirty="0"/>
              <a:t>✅Cold Start (−10°C)</a:t>
            </a:r>
          </a:p>
          <a:p>
            <a:pPr marL="0" lvl="1" indent="0">
              <a:buNone/>
            </a:pPr>
            <a:r>
              <a:rPr lang="en-GB" dirty="0"/>
              <a:t>✅Survival (−5°C to +45°C)</a:t>
            </a:r>
          </a:p>
          <a:p>
            <a:pPr marL="0" lvl="1" indent="0">
              <a:buNone/>
            </a:pPr>
            <a:endParaRPr lang="en-GB" dirty="0"/>
          </a:p>
          <a:p>
            <a:pPr marL="0" lvl="1" indent="0">
              <a:buNone/>
            </a:pPr>
            <a:endParaRPr lang="en-GB" dirty="0"/>
          </a:p>
          <a:p>
            <a:pPr marL="0" lvl="1" indent="0">
              <a:buNone/>
            </a:pP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0D97493-8656-433B-82AB-16CF14C16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37BE1DF0-2ADB-B058-A487-EE5E1E05010F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Environmental Tes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0383EC6-D047-47EB-C8F8-54D8B586C3D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AC6C84E-A444-5BEC-737C-1EBED366F95A}"/>
              </a:ext>
            </a:extLst>
          </p:cNvPr>
          <p:cNvSpPr txBox="1">
            <a:spLocks/>
          </p:cNvSpPr>
          <p:nvPr/>
        </p:nvSpPr>
        <p:spPr>
          <a:xfrm>
            <a:off x="6627424" y="2713626"/>
            <a:ext cx="5656752" cy="2866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</a:pPr>
            <a:r>
              <a:rPr lang="en-GB" b="1" dirty="0"/>
              <a:t>EMC Immunity Test (External Test Site):</a:t>
            </a:r>
          </a:p>
          <a:p>
            <a:pPr marL="0" lvl="1" indent="0">
              <a:buNone/>
            </a:pPr>
            <a:r>
              <a:rPr lang="en-GB" dirty="0"/>
              <a:t>✅IEC61000-4-2 Electrostatic Discharge (8kV/15kV)</a:t>
            </a:r>
          </a:p>
          <a:p>
            <a:pPr marL="0" lvl="1" indent="0">
              <a:buNone/>
            </a:pPr>
            <a:r>
              <a:rPr lang="en-GB" dirty="0"/>
              <a:t>✅IEC61000-4-8 Power Frequency Magnetic Field</a:t>
            </a:r>
          </a:p>
          <a:p>
            <a:pPr marL="0" lvl="1" indent="0">
              <a:buNone/>
            </a:pPr>
            <a:r>
              <a:rPr lang="en-GB" dirty="0"/>
              <a:t>✅IEC61000-4-3 Electromagnetic Field </a:t>
            </a:r>
          </a:p>
          <a:p>
            <a:pPr marL="0" lvl="1" indent="0">
              <a:buFont typeface="Arial" panose="020B0604020202020204" pitchFamily="34" charset="0"/>
              <a:buNone/>
            </a:pPr>
            <a:r>
              <a:rPr lang="en-GB" dirty="0"/>
              <a:t>✅IEC61000-4-4 Burst</a:t>
            </a:r>
          </a:p>
          <a:p>
            <a:pPr marL="0" lvl="1" indent="0">
              <a:buNone/>
            </a:pPr>
            <a:r>
              <a:rPr lang="en-GB" dirty="0"/>
              <a:t>✅IEC61000-4-6 Conducted RF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F543FB9-7274-8859-DFC6-175B904496CE}"/>
              </a:ext>
            </a:extLst>
          </p:cNvPr>
          <p:cNvSpPr txBox="1">
            <a:spLocks/>
          </p:cNvSpPr>
          <p:nvPr/>
        </p:nvSpPr>
        <p:spPr>
          <a:xfrm>
            <a:off x="6627424" y="5597031"/>
            <a:ext cx="5656752" cy="9164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</a:pPr>
            <a:r>
              <a:rPr lang="en-GB" b="1" dirty="0"/>
              <a:t>EMC Emission Test (External Test Site):</a:t>
            </a:r>
          </a:p>
          <a:p>
            <a:pPr marL="0" lvl="1" indent="0">
              <a:buNone/>
            </a:pPr>
            <a:r>
              <a:rPr lang="en-GB" dirty="0"/>
              <a:t>✅CISPR 11 Radiated Emission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  <a:p>
            <a:pPr marL="0" lvl="1" indent="0"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6CC4AF-4B4C-B5DF-6E84-37679F31C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972" y="1743045"/>
            <a:ext cx="5656752" cy="4397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548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C9958-1C3E-A14C-0D5F-49EE391FB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C094F-3CC5-5C4F-2775-DEB8178DA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lly Digital Detector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38115D-F913-D00B-63D7-CA1BD3467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4th MicroTCA Workshop for Industry and Research, Hamburg, Dec 2-4, 2025</a:t>
            </a:r>
            <a:endParaRPr lang="de-CH" i="1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91D83EBE-141F-632B-7408-E246E575512F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r>
              <a:rPr lang="en-GB" dirty="0"/>
              <a:t>Geosnap 2K x 2K Mid-IR (13.5µ) Detecto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F9CEA0-B7A3-D418-C1A5-AD17BE9C821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, ESO-647064 v.1</a:t>
            </a:r>
            <a:endParaRPr lang="en-GB" dirty="0"/>
          </a:p>
        </p:txBody>
      </p:sp>
      <p:pic>
        <p:nvPicPr>
          <p:cNvPr id="7" name="Picture 6" descr="A close-up of a cable&#10;&#10;AI-generated content may be incorrect.">
            <a:extLst>
              <a:ext uri="{FF2B5EF4-FFF2-40B4-BE49-F238E27FC236}">
                <a16:creationId xmlns:a16="http://schemas.microsoft.com/office/drawing/2014/main" id="{416ADFF2-DAC1-9AA0-79B5-17517B1F2905}"/>
              </a:ext>
            </a:extLst>
          </p:cNvPr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159" y="1669273"/>
            <a:ext cx="7839683" cy="381814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DB1575E-E04D-DA62-CB41-D92B72A44A04}"/>
              </a:ext>
            </a:extLst>
          </p:cNvPr>
          <p:cNvSpPr/>
          <p:nvPr/>
        </p:nvSpPr>
        <p:spPr>
          <a:xfrm>
            <a:off x="2164159" y="5561188"/>
            <a:ext cx="2547991" cy="7229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etector Head</a:t>
            </a:r>
          </a:p>
          <a:p>
            <a:pPr algn="ctr"/>
            <a:r>
              <a:rPr lang="en-GB" dirty="0"/>
              <a:t>With ROI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9B6CD-B8BC-41B8-C978-4D8DE3861E6D}"/>
              </a:ext>
            </a:extLst>
          </p:cNvPr>
          <p:cNvSpPr/>
          <p:nvPr/>
        </p:nvSpPr>
        <p:spPr>
          <a:xfrm>
            <a:off x="7455851" y="5561188"/>
            <a:ext cx="2547991" cy="7229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NGCII</a:t>
            </a:r>
          </a:p>
          <a:p>
            <a:pPr algn="ctr"/>
            <a:r>
              <a:rPr lang="en-GB" dirty="0"/>
              <a:t>Controller</a:t>
            </a:r>
          </a:p>
        </p:txBody>
      </p:sp>
      <p:sp>
        <p:nvSpPr>
          <p:cNvPr id="12" name="Arrow: Left-Right 11">
            <a:extLst>
              <a:ext uri="{FF2B5EF4-FFF2-40B4-BE49-F238E27FC236}">
                <a16:creationId xmlns:a16="http://schemas.microsoft.com/office/drawing/2014/main" id="{C7745CD2-346B-3681-2615-00A570B69B58}"/>
              </a:ext>
            </a:extLst>
          </p:cNvPr>
          <p:cNvSpPr/>
          <p:nvPr/>
        </p:nvSpPr>
        <p:spPr>
          <a:xfrm>
            <a:off x="4821919" y="5600788"/>
            <a:ext cx="2452183" cy="683386"/>
          </a:xfrm>
          <a:prstGeom prst="left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8x 1.6Gbps</a:t>
            </a:r>
          </a:p>
        </p:txBody>
      </p:sp>
    </p:spTree>
    <p:extLst>
      <p:ext uri="{BB962C8B-B14F-4D97-AF65-F5344CB8AC3E}">
        <p14:creationId xmlns:p14="http://schemas.microsoft.com/office/powerpoint/2010/main" val="337174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SO_official_ppt_template_2023.potx  -  Read-Only" id="{CD68B5D3-9B19-4E3F-80CE-0D285B4DD9DE}" vid="{7AB60256-EA41-4C27-827C-5229C80E839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SO-232192_2 ESO Template - Powerpoint Presentation</Template>
  <TotalTime>0</TotalTime>
  <Words>880</Words>
  <Application>Microsoft Office PowerPoint</Application>
  <PresentationFormat>Breitbild</PresentationFormat>
  <Paragraphs>138</Paragraphs>
  <Slides>15</Slides>
  <Notes>0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0" baseType="lpstr">
      <vt:lpstr>Arial</vt:lpstr>
      <vt:lpstr>Calibri</vt:lpstr>
      <vt:lpstr>Georgia</vt:lpstr>
      <vt:lpstr>Office</vt:lpstr>
      <vt:lpstr>think-cell Folie</vt:lpstr>
      <vt:lpstr>Update on the development and deployment of the MicroTCA based detector controller, NGCII</vt:lpstr>
      <vt:lpstr>Abstract:  In the time since the last MicroTCA workshop we have achieved laboratory first-light with the final two detector families to be supported by our MicroTCA.4 based general detector controller, NGCII. Besides CCDs, the workhorse detector for ground-based astronomy, we have also brought up Geosnap, a fully digital detector transmitting its pixel data through high-speed digital signals. Meanwhile, we are in the process of preparing CMOS detector systems for large scale deployment. We are developing test tooling for post-production testing, estimating the need for, and starting the procurement of spare parts, and are in the process of performing final environmental tests for CMOS detector specific systems.</vt:lpstr>
      <vt:lpstr>It moves!</vt:lpstr>
      <vt:lpstr>System Overview</vt:lpstr>
      <vt:lpstr>Detector Status</vt:lpstr>
      <vt:lpstr>Analog CMOS Detectors</vt:lpstr>
      <vt:lpstr>Analog CMOS Detectors</vt:lpstr>
      <vt:lpstr>Analog CMOS Detectors</vt:lpstr>
      <vt:lpstr>Fully Digital Detectors</vt:lpstr>
      <vt:lpstr>Fully Digital Detectors</vt:lpstr>
      <vt:lpstr>Analog CCD Detectors </vt:lpstr>
      <vt:lpstr>Miscellaneous</vt:lpstr>
      <vt:lpstr>Self-Test Software</vt:lpstr>
      <vt:lpstr>Shopping List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Katia Montironi</dc:creator>
  <cp:lastModifiedBy>Ayvazyan, Gohar</cp:lastModifiedBy>
  <cp:revision>2</cp:revision>
  <dcterms:created xsi:type="dcterms:W3CDTF">2023-05-26T06:45:20Z</dcterms:created>
  <dcterms:modified xsi:type="dcterms:W3CDTF">2025-12-01T08:53:03Z</dcterms:modified>
</cp:coreProperties>
</file>